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59" autoAdjust="0"/>
    <p:restoredTop sz="94660"/>
  </p:normalViewPr>
  <p:slideViewPr>
    <p:cSldViewPr snapToGrid="0">
      <p:cViewPr varScale="1">
        <p:scale>
          <a:sx n="91" d="100"/>
          <a:sy n="91" d="100"/>
        </p:scale>
        <p:origin x="208" y="9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heme" Target="theme/theme1.xml"/><Relationship Id="rId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0" indent="0">
              <a:buNone/>
              <a:defRPr/>
            </a:lvl2pPr>
            <a:lvl4pPr marL="715962" indent="0">
              <a:buNone/>
              <a:defRPr/>
            </a:lvl4pPr>
            <a:lvl5pPr marL="1001712" indent="0">
              <a:buNone/>
              <a:defRPr/>
            </a:lvl5pPr>
          </a:lstStyle>
          <a:p>
            <a:pPr lvl="1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67A10-E48D-48DC-B8F1-7E91AACA70F7}" type="datetimeFigureOut">
              <a:rPr lang="de-CH" smtClean="0"/>
              <a:t>02.03.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08672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4" Type="http://schemas.openxmlformats.org/officeDocument/2006/relationships/tags" Target="../tags/tag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5" imgW="372" imgH="369" progId="TCLayout.ActiveDocument.1">
                  <p:embed/>
                </p:oleObj>
              </mc:Choice>
              <mc:Fallback>
                <p:oleObj name="think-cell Folie" r:id="rId5" imgW="372" imgH="3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547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200" b="1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66700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47675" indent="-180975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00125" indent="-284163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14450" indent="-312738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7716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7pPr>
      <a:lvl8pPr marL="26860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Gerade Verbindung mit Pfeil 61"/>
          <p:cNvCxnSpPr/>
          <p:nvPr/>
        </p:nvCxnSpPr>
        <p:spPr>
          <a:xfrm>
            <a:off x="2280122" y="5012382"/>
            <a:ext cx="3311822" cy="0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/>
          <p:nvPr/>
        </p:nvCxnSpPr>
        <p:spPr>
          <a:xfrm flipV="1">
            <a:off x="2280122" y="1628007"/>
            <a:ext cx="0" cy="3355021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453153" y="1340769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bability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5569084" y="4858494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verity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2355023" y="4040374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2355023" y="3104370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355023" y="2168366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3329923" y="4039082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3329923" y="3103078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329923" y="2167074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06588" y="4040374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06588" y="3104370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4306588" y="2168366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631505" y="2463186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1631505" y="4346572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1631505" y="3394394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25007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4756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4446734" y="5041738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81" name="Ellipse 80"/>
          <p:cNvSpPr/>
          <p:nvPr/>
        </p:nvSpPr>
        <p:spPr>
          <a:xfrm>
            <a:off x="2473101" y="340428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2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2" name="Ellipse 81"/>
          <p:cNvSpPr/>
          <p:nvPr/>
        </p:nvSpPr>
        <p:spPr>
          <a:xfrm>
            <a:off x="3635923" y="340409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3" name="Ellipse 82"/>
          <p:cNvSpPr/>
          <p:nvPr/>
        </p:nvSpPr>
        <p:spPr>
          <a:xfrm>
            <a:off x="2661023" y="2467630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84" name="Ellipse 83"/>
          <p:cNvSpPr/>
          <p:nvPr/>
        </p:nvSpPr>
        <p:spPr>
          <a:xfrm>
            <a:off x="2861355" y="340428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85" name="Ellipse 84"/>
          <p:cNvSpPr/>
          <p:nvPr/>
        </p:nvSpPr>
        <p:spPr>
          <a:xfrm>
            <a:off x="6788791" y="196575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6" name="Ellipse 85"/>
          <p:cNvSpPr/>
          <p:nvPr/>
        </p:nvSpPr>
        <p:spPr>
          <a:xfrm>
            <a:off x="6788791" y="2909555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87" name="Ellipse 86"/>
          <p:cNvSpPr/>
          <p:nvPr/>
        </p:nvSpPr>
        <p:spPr>
          <a:xfrm>
            <a:off x="6788791" y="38533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88" name="Ellipse 87"/>
          <p:cNvSpPr/>
          <p:nvPr/>
        </p:nvSpPr>
        <p:spPr>
          <a:xfrm>
            <a:off x="6788791" y="479715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7072188" y="1916832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ringBoot</a:t>
            </a:r>
            <a:r>
              <a:rPr lang="de-CH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mework zu </a:t>
            </a:r>
            <a:r>
              <a:rPr lang="de-CH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lex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7072188" y="2865908"/>
            <a:ext cx="31594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wertung der Prüfungsaufgaben-Identifikation zu aufwändig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072188" y="3814984"/>
            <a:ext cx="31594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üfungskorrekturen 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 in den Aufgabenbildern nicht </a:t>
            </a:r>
            <a:r>
              <a:rPr lang="de-CH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setzbar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Textfeld 91"/>
          <p:cNvSpPr txBox="1"/>
          <p:nvPr/>
        </p:nvSpPr>
        <p:spPr>
          <a:xfrm>
            <a:off x="7072188" y="4764060"/>
            <a:ext cx="31594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rwartete 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lexität im HSR Prüfungsprozess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15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wissLife_German">
  <a:themeElements>
    <a:clrScheme name="Standarddesign 1">
      <a:dk1>
        <a:srgbClr val="000000"/>
      </a:dk1>
      <a:lt1>
        <a:srgbClr val="FFFFFF"/>
      </a:lt1>
      <a:dk2>
        <a:srgbClr val="C8C8C8"/>
      </a:dk2>
      <a:lt2>
        <a:srgbClr val="D9A4AF"/>
      </a:lt2>
      <a:accent1>
        <a:srgbClr val="A11C36"/>
      </a:accent1>
      <a:accent2>
        <a:srgbClr val="8C8C8C"/>
      </a:accent2>
      <a:accent3>
        <a:srgbClr val="FFFFFF"/>
      </a:accent3>
      <a:accent4>
        <a:srgbClr val="000000"/>
      </a:accent4>
      <a:accent5>
        <a:srgbClr val="CDABAE"/>
      </a:accent5>
      <a:accent6>
        <a:srgbClr val="7E7E7E"/>
      </a:accent6>
      <a:hlink>
        <a:srgbClr val="E8E199"/>
      </a:hlink>
      <a:folHlink>
        <a:srgbClr val="D82034"/>
      </a:folHlink>
    </a:clrScheme>
    <a:fontScheme name="1_SwissLife_Germa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C8C8C8"/>
        </a:dk2>
        <a:lt2>
          <a:srgbClr val="D9A4AF"/>
        </a:lt2>
        <a:accent1>
          <a:srgbClr val="A11C36"/>
        </a:accent1>
        <a:accent2>
          <a:srgbClr val="8C8C8C"/>
        </a:accent2>
        <a:accent3>
          <a:srgbClr val="FFFFFF"/>
        </a:accent3>
        <a:accent4>
          <a:srgbClr val="000000"/>
        </a:accent4>
        <a:accent5>
          <a:srgbClr val="CDABAE"/>
        </a:accent5>
        <a:accent6>
          <a:srgbClr val="7E7E7E"/>
        </a:accent6>
        <a:hlink>
          <a:srgbClr val="E8E199"/>
        </a:hlink>
        <a:folHlink>
          <a:srgbClr val="D820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</Words>
  <Application>Microsoft Macintosh PowerPoint</Application>
  <PresentationFormat>Breitbild</PresentationFormat>
  <Paragraphs>2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Wingdings</vt:lpstr>
      <vt:lpstr>Arial</vt:lpstr>
      <vt:lpstr>1_SwissLife_German</vt:lpstr>
      <vt:lpstr>think-cell Folie</vt:lpstr>
      <vt:lpstr>PowerPoint-Präsentation</vt:lpstr>
    </vt:vector>
  </TitlesOfParts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Matter</dc:creator>
  <cp:lastModifiedBy>Scherler Patrick</cp:lastModifiedBy>
  <cp:revision>3</cp:revision>
  <dcterms:created xsi:type="dcterms:W3CDTF">2017-03-01T17:35:08Z</dcterms:created>
  <dcterms:modified xsi:type="dcterms:W3CDTF">2017-03-02T10:17:29Z</dcterms:modified>
</cp:coreProperties>
</file>